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sldIdLst>
    <p:sldId id="258" r:id="rId2"/>
  </p:sldIdLst>
  <p:sldSz cx="11879263" cy="11520488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8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11" autoAdjust="0"/>
    <p:restoredTop sz="94643"/>
  </p:normalViewPr>
  <p:slideViewPr>
    <p:cSldViewPr snapToGrid="0" snapToObjects="1">
      <p:cViewPr varScale="1">
        <p:scale>
          <a:sx n="51" d="100"/>
          <a:sy n="51" d="100"/>
        </p:scale>
        <p:origin x="56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0945" y="1885414"/>
            <a:ext cx="10097374" cy="4010837"/>
          </a:xfrm>
        </p:spPr>
        <p:txBody>
          <a:bodyPr anchor="b"/>
          <a:lstStyle>
            <a:lvl1pPr algn="ctr">
              <a:defRPr sz="77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4908" y="6050924"/>
            <a:ext cx="8909447" cy="2781450"/>
          </a:xfrm>
        </p:spPr>
        <p:txBody>
          <a:bodyPr/>
          <a:lstStyle>
            <a:lvl1pPr marL="0" indent="0" algn="ctr">
              <a:buNone/>
              <a:defRPr sz="3118"/>
            </a:lvl1pPr>
            <a:lvl2pPr marL="593949" indent="0" algn="ctr">
              <a:buNone/>
              <a:defRPr sz="2598"/>
            </a:lvl2pPr>
            <a:lvl3pPr marL="1187897" indent="0" algn="ctr">
              <a:buNone/>
              <a:defRPr sz="2338"/>
            </a:lvl3pPr>
            <a:lvl4pPr marL="1781846" indent="0" algn="ctr">
              <a:buNone/>
              <a:defRPr sz="2079"/>
            </a:lvl4pPr>
            <a:lvl5pPr marL="2375794" indent="0" algn="ctr">
              <a:buNone/>
              <a:defRPr sz="2079"/>
            </a:lvl5pPr>
            <a:lvl6pPr marL="2969743" indent="0" algn="ctr">
              <a:buNone/>
              <a:defRPr sz="2079"/>
            </a:lvl6pPr>
            <a:lvl7pPr marL="3563691" indent="0" algn="ctr">
              <a:buNone/>
              <a:defRPr sz="2079"/>
            </a:lvl7pPr>
            <a:lvl8pPr marL="4157640" indent="0" algn="ctr">
              <a:buNone/>
              <a:defRPr sz="2079"/>
            </a:lvl8pPr>
            <a:lvl9pPr marL="4751588" indent="0" algn="ctr">
              <a:buNone/>
              <a:defRPr sz="207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97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183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01098" y="613359"/>
            <a:ext cx="2561466" cy="976308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6700" y="613359"/>
            <a:ext cx="7535907" cy="976308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02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140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513" y="2872125"/>
            <a:ext cx="10245864" cy="4792202"/>
          </a:xfrm>
        </p:spPr>
        <p:txBody>
          <a:bodyPr anchor="b"/>
          <a:lstStyle>
            <a:lvl1pPr>
              <a:defRPr sz="779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513" y="7709663"/>
            <a:ext cx="10245864" cy="2520106"/>
          </a:xfrm>
        </p:spPr>
        <p:txBody>
          <a:bodyPr/>
          <a:lstStyle>
            <a:lvl1pPr marL="0" indent="0">
              <a:buNone/>
              <a:defRPr sz="3118">
                <a:solidFill>
                  <a:schemeClr val="tx1"/>
                </a:solidFill>
              </a:defRPr>
            </a:lvl1pPr>
            <a:lvl2pPr marL="593949" indent="0">
              <a:buNone/>
              <a:defRPr sz="2598">
                <a:solidFill>
                  <a:schemeClr val="tx1">
                    <a:tint val="75000"/>
                  </a:schemeClr>
                </a:solidFill>
              </a:defRPr>
            </a:lvl2pPr>
            <a:lvl3pPr marL="1187897" indent="0">
              <a:buNone/>
              <a:defRPr sz="2338">
                <a:solidFill>
                  <a:schemeClr val="tx1">
                    <a:tint val="75000"/>
                  </a:schemeClr>
                </a:solidFill>
              </a:defRPr>
            </a:lvl3pPr>
            <a:lvl4pPr marL="1781846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4pPr>
            <a:lvl5pPr marL="2375794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5pPr>
            <a:lvl6pPr marL="2969743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6pPr>
            <a:lvl7pPr marL="3563691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7pPr>
            <a:lvl8pPr marL="4157640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8pPr>
            <a:lvl9pPr marL="4751588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58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699" y="3066796"/>
            <a:ext cx="5048687" cy="73096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3877" y="3066796"/>
            <a:ext cx="5048687" cy="73096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038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7" y="613362"/>
            <a:ext cx="10245864" cy="2226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8248" y="2824120"/>
            <a:ext cx="5025484" cy="1384058"/>
          </a:xfrm>
        </p:spPr>
        <p:txBody>
          <a:bodyPr anchor="b"/>
          <a:lstStyle>
            <a:lvl1pPr marL="0" indent="0">
              <a:buNone/>
              <a:defRPr sz="3118" b="1"/>
            </a:lvl1pPr>
            <a:lvl2pPr marL="593949" indent="0">
              <a:buNone/>
              <a:defRPr sz="2598" b="1"/>
            </a:lvl2pPr>
            <a:lvl3pPr marL="1187897" indent="0">
              <a:buNone/>
              <a:defRPr sz="2338" b="1"/>
            </a:lvl3pPr>
            <a:lvl4pPr marL="1781846" indent="0">
              <a:buNone/>
              <a:defRPr sz="2079" b="1"/>
            </a:lvl4pPr>
            <a:lvl5pPr marL="2375794" indent="0">
              <a:buNone/>
              <a:defRPr sz="2079" b="1"/>
            </a:lvl5pPr>
            <a:lvl6pPr marL="2969743" indent="0">
              <a:buNone/>
              <a:defRPr sz="2079" b="1"/>
            </a:lvl6pPr>
            <a:lvl7pPr marL="3563691" indent="0">
              <a:buNone/>
              <a:defRPr sz="2079" b="1"/>
            </a:lvl7pPr>
            <a:lvl8pPr marL="4157640" indent="0">
              <a:buNone/>
              <a:defRPr sz="2079" b="1"/>
            </a:lvl8pPr>
            <a:lvl9pPr marL="4751588" indent="0">
              <a:buNone/>
              <a:defRPr sz="207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8248" y="4208178"/>
            <a:ext cx="5025484" cy="61895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13878" y="2824120"/>
            <a:ext cx="5050234" cy="1384058"/>
          </a:xfrm>
        </p:spPr>
        <p:txBody>
          <a:bodyPr anchor="b"/>
          <a:lstStyle>
            <a:lvl1pPr marL="0" indent="0">
              <a:buNone/>
              <a:defRPr sz="3118" b="1"/>
            </a:lvl1pPr>
            <a:lvl2pPr marL="593949" indent="0">
              <a:buNone/>
              <a:defRPr sz="2598" b="1"/>
            </a:lvl2pPr>
            <a:lvl3pPr marL="1187897" indent="0">
              <a:buNone/>
              <a:defRPr sz="2338" b="1"/>
            </a:lvl3pPr>
            <a:lvl4pPr marL="1781846" indent="0">
              <a:buNone/>
              <a:defRPr sz="2079" b="1"/>
            </a:lvl4pPr>
            <a:lvl5pPr marL="2375794" indent="0">
              <a:buNone/>
              <a:defRPr sz="2079" b="1"/>
            </a:lvl5pPr>
            <a:lvl6pPr marL="2969743" indent="0">
              <a:buNone/>
              <a:defRPr sz="2079" b="1"/>
            </a:lvl6pPr>
            <a:lvl7pPr marL="3563691" indent="0">
              <a:buNone/>
              <a:defRPr sz="2079" b="1"/>
            </a:lvl7pPr>
            <a:lvl8pPr marL="4157640" indent="0">
              <a:buNone/>
              <a:defRPr sz="2079" b="1"/>
            </a:lvl8pPr>
            <a:lvl9pPr marL="4751588" indent="0">
              <a:buNone/>
              <a:defRPr sz="207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13878" y="4208178"/>
            <a:ext cx="5050234" cy="61895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779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07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829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6" y="768032"/>
            <a:ext cx="3831372" cy="2688114"/>
          </a:xfrm>
        </p:spPr>
        <p:txBody>
          <a:bodyPr anchor="b"/>
          <a:lstStyle>
            <a:lvl1pPr>
              <a:defRPr sz="41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0234" y="1658740"/>
            <a:ext cx="6013877" cy="8187013"/>
          </a:xfrm>
        </p:spPr>
        <p:txBody>
          <a:bodyPr/>
          <a:lstStyle>
            <a:lvl1pPr>
              <a:defRPr sz="4157"/>
            </a:lvl1pPr>
            <a:lvl2pPr>
              <a:defRPr sz="3637"/>
            </a:lvl2pPr>
            <a:lvl3pPr>
              <a:defRPr sz="3118"/>
            </a:lvl3pPr>
            <a:lvl4pPr>
              <a:defRPr sz="2598"/>
            </a:lvl4pPr>
            <a:lvl5pPr>
              <a:defRPr sz="2598"/>
            </a:lvl5pPr>
            <a:lvl6pPr>
              <a:defRPr sz="2598"/>
            </a:lvl6pPr>
            <a:lvl7pPr>
              <a:defRPr sz="2598"/>
            </a:lvl7pPr>
            <a:lvl8pPr>
              <a:defRPr sz="2598"/>
            </a:lvl8pPr>
            <a:lvl9pPr>
              <a:defRPr sz="25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8246" y="3456146"/>
            <a:ext cx="3831372" cy="6402939"/>
          </a:xfrm>
        </p:spPr>
        <p:txBody>
          <a:bodyPr/>
          <a:lstStyle>
            <a:lvl1pPr marL="0" indent="0">
              <a:buNone/>
              <a:defRPr sz="2079"/>
            </a:lvl1pPr>
            <a:lvl2pPr marL="593949" indent="0">
              <a:buNone/>
              <a:defRPr sz="1819"/>
            </a:lvl2pPr>
            <a:lvl3pPr marL="1187897" indent="0">
              <a:buNone/>
              <a:defRPr sz="1559"/>
            </a:lvl3pPr>
            <a:lvl4pPr marL="1781846" indent="0">
              <a:buNone/>
              <a:defRPr sz="1299"/>
            </a:lvl4pPr>
            <a:lvl5pPr marL="2375794" indent="0">
              <a:buNone/>
              <a:defRPr sz="1299"/>
            </a:lvl5pPr>
            <a:lvl6pPr marL="2969743" indent="0">
              <a:buNone/>
              <a:defRPr sz="1299"/>
            </a:lvl6pPr>
            <a:lvl7pPr marL="3563691" indent="0">
              <a:buNone/>
              <a:defRPr sz="1299"/>
            </a:lvl7pPr>
            <a:lvl8pPr marL="4157640" indent="0">
              <a:buNone/>
              <a:defRPr sz="1299"/>
            </a:lvl8pPr>
            <a:lvl9pPr marL="4751588" indent="0">
              <a:buNone/>
              <a:defRPr sz="12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215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46" y="768032"/>
            <a:ext cx="3831372" cy="2688114"/>
          </a:xfrm>
        </p:spPr>
        <p:txBody>
          <a:bodyPr anchor="b"/>
          <a:lstStyle>
            <a:lvl1pPr>
              <a:defRPr sz="415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50234" y="1658740"/>
            <a:ext cx="6013877" cy="8187013"/>
          </a:xfrm>
        </p:spPr>
        <p:txBody>
          <a:bodyPr anchor="t"/>
          <a:lstStyle>
            <a:lvl1pPr marL="0" indent="0">
              <a:buNone/>
              <a:defRPr sz="4157"/>
            </a:lvl1pPr>
            <a:lvl2pPr marL="593949" indent="0">
              <a:buNone/>
              <a:defRPr sz="3637"/>
            </a:lvl2pPr>
            <a:lvl3pPr marL="1187897" indent="0">
              <a:buNone/>
              <a:defRPr sz="3118"/>
            </a:lvl3pPr>
            <a:lvl4pPr marL="1781846" indent="0">
              <a:buNone/>
              <a:defRPr sz="2598"/>
            </a:lvl4pPr>
            <a:lvl5pPr marL="2375794" indent="0">
              <a:buNone/>
              <a:defRPr sz="2598"/>
            </a:lvl5pPr>
            <a:lvl6pPr marL="2969743" indent="0">
              <a:buNone/>
              <a:defRPr sz="2598"/>
            </a:lvl6pPr>
            <a:lvl7pPr marL="3563691" indent="0">
              <a:buNone/>
              <a:defRPr sz="2598"/>
            </a:lvl7pPr>
            <a:lvl8pPr marL="4157640" indent="0">
              <a:buNone/>
              <a:defRPr sz="2598"/>
            </a:lvl8pPr>
            <a:lvl9pPr marL="4751588" indent="0">
              <a:buNone/>
              <a:defRPr sz="2598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8246" y="3456146"/>
            <a:ext cx="3831372" cy="6402939"/>
          </a:xfrm>
        </p:spPr>
        <p:txBody>
          <a:bodyPr/>
          <a:lstStyle>
            <a:lvl1pPr marL="0" indent="0">
              <a:buNone/>
              <a:defRPr sz="2079"/>
            </a:lvl1pPr>
            <a:lvl2pPr marL="593949" indent="0">
              <a:buNone/>
              <a:defRPr sz="1819"/>
            </a:lvl2pPr>
            <a:lvl3pPr marL="1187897" indent="0">
              <a:buNone/>
              <a:defRPr sz="1559"/>
            </a:lvl3pPr>
            <a:lvl4pPr marL="1781846" indent="0">
              <a:buNone/>
              <a:defRPr sz="1299"/>
            </a:lvl4pPr>
            <a:lvl5pPr marL="2375794" indent="0">
              <a:buNone/>
              <a:defRPr sz="1299"/>
            </a:lvl5pPr>
            <a:lvl6pPr marL="2969743" indent="0">
              <a:buNone/>
              <a:defRPr sz="1299"/>
            </a:lvl6pPr>
            <a:lvl7pPr marL="3563691" indent="0">
              <a:buNone/>
              <a:defRPr sz="1299"/>
            </a:lvl7pPr>
            <a:lvl8pPr marL="4157640" indent="0">
              <a:buNone/>
              <a:defRPr sz="1299"/>
            </a:lvl8pPr>
            <a:lvl9pPr marL="4751588" indent="0">
              <a:buNone/>
              <a:defRPr sz="12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34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6700" y="613362"/>
            <a:ext cx="10245864" cy="2226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6700" y="3066796"/>
            <a:ext cx="10245864" cy="7309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699" y="10677788"/>
            <a:ext cx="2672834" cy="613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7341E-E8D5-574D-9C77-42D65F8270B5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5006" y="10677788"/>
            <a:ext cx="4009251" cy="613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9730" y="10677788"/>
            <a:ext cx="2672834" cy="613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56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1187897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74" indent="-296974" algn="l" defTabSz="1187897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7" kern="1200">
          <a:solidFill>
            <a:schemeClr val="tx1"/>
          </a:solidFill>
          <a:latin typeface="+mn-lt"/>
          <a:ea typeface="+mn-ea"/>
          <a:cs typeface="+mn-cs"/>
        </a:defRPr>
      </a:lvl1pPr>
      <a:lvl2pPr marL="890923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871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820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768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717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665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614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562" indent="-296974" algn="l" defTabSz="1187897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49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897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846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794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743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691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640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588" algn="l" defTabSz="1187897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7395813" y="-842551"/>
          <a:ext cx="3072" cy="3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7395813" y="-842551"/>
                        <a:ext cx="3072" cy="3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9FC4E78-2D03-4D7B-B910-8948F0DB7F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00" y="180244"/>
            <a:ext cx="10426913" cy="55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F62D6A-98BF-4A06-AD4B-C38EC9CD4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000" y="5760244"/>
            <a:ext cx="10376139" cy="55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18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2</TotalTime>
  <Words>0</Words>
  <Application>Microsoft Office PowerPoint</Application>
  <PresentationFormat>Custom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 Tanaka</dc:creator>
  <cp:lastModifiedBy>Kutluay, Y.M. (Mehmet)</cp:lastModifiedBy>
  <cp:revision>26</cp:revision>
  <dcterms:created xsi:type="dcterms:W3CDTF">2018-03-31T22:20:45Z</dcterms:created>
  <dcterms:modified xsi:type="dcterms:W3CDTF">2019-12-19T13:52:56Z</dcterms:modified>
</cp:coreProperties>
</file>